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</p:sldIdLst>
  <p:sldSz cx="12192000" cy="6858000"/>
  <p:notesSz cx="6858000" cy="9144000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6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69EC224-7693-4801-B2CE-45866694736E}" v="60" dt="2021-01-06T20:55:07.90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169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orn, Angelina" userId="17de84f0-3c4d-4bf9-80a7-5182f89cb293" providerId="ADAL" clId="{C69EC224-7693-4801-B2CE-45866694736E}"/>
    <pc:docChg chg="undo custSel modSld">
      <pc:chgData name="Horn, Angelina" userId="17de84f0-3c4d-4bf9-80a7-5182f89cb293" providerId="ADAL" clId="{C69EC224-7693-4801-B2CE-45866694736E}" dt="2021-01-06T20:55:22.745" v="598" actId="1076"/>
      <pc:docMkLst>
        <pc:docMk/>
      </pc:docMkLst>
      <pc:sldChg chg="addSp delSp modSp">
        <pc:chgData name="Horn, Angelina" userId="17de84f0-3c4d-4bf9-80a7-5182f89cb293" providerId="ADAL" clId="{C69EC224-7693-4801-B2CE-45866694736E}" dt="2021-01-06T20:55:22.745" v="598" actId="1076"/>
        <pc:sldMkLst>
          <pc:docMk/>
          <pc:sldMk cId="4091957854" sldId="256"/>
        </pc:sldMkLst>
        <pc:spChg chg="mod">
          <ac:chgData name="Horn, Angelina" userId="17de84f0-3c4d-4bf9-80a7-5182f89cb293" providerId="ADAL" clId="{C69EC224-7693-4801-B2CE-45866694736E}" dt="2021-01-06T11:33:01.712" v="345" actId="1076"/>
          <ac:spMkLst>
            <pc:docMk/>
            <pc:sldMk cId="4091957854" sldId="256"/>
            <ac:spMk id="30" creationId="{0954690B-E44F-4339-AD90-9C0400EA3619}"/>
          </ac:spMkLst>
        </pc:spChg>
        <pc:spChg chg="mod">
          <ac:chgData name="Horn, Angelina" userId="17de84f0-3c4d-4bf9-80a7-5182f89cb293" providerId="ADAL" clId="{C69EC224-7693-4801-B2CE-45866694736E}" dt="2021-01-06T11:24:40.496" v="275" actId="404"/>
          <ac:spMkLst>
            <pc:docMk/>
            <pc:sldMk cId="4091957854" sldId="256"/>
            <ac:spMk id="31" creationId="{450E1619-0B4D-45E8-8B4D-1B69BF89B087}"/>
          </ac:spMkLst>
        </pc:spChg>
        <pc:spChg chg="mod">
          <ac:chgData name="Horn, Angelina" userId="17de84f0-3c4d-4bf9-80a7-5182f89cb293" providerId="ADAL" clId="{C69EC224-7693-4801-B2CE-45866694736E}" dt="2021-01-06T11:32:39.105" v="343" actId="1076"/>
          <ac:spMkLst>
            <pc:docMk/>
            <pc:sldMk cId="4091957854" sldId="256"/>
            <ac:spMk id="32" creationId="{B3061F80-8FCF-4399-8C50-C44B60BBAD47}"/>
          </ac:spMkLst>
        </pc:spChg>
        <pc:spChg chg="mod">
          <ac:chgData name="Horn, Angelina" userId="17de84f0-3c4d-4bf9-80a7-5182f89cb293" providerId="ADAL" clId="{C69EC224-7693-4801-B2CE-45866694736E}" dt="2021-01-06T20:34:44.535" v="364" actId="1076"/>
          <ac:spMkLst>
            <pc:docMk/>
            <pc:sldMk cId="4091957854" sldId="256"/>
            <ac:spMk id="34" creationId="{7AA44258-3B33-43B7-AC4D-94142CDAB65E}"/>
          </ac:spMkLst>
        </pc:spChg>
        <pc:spChg chg="mod">
          <ac:chgData name="Horn, Angelina" userId="17de84f0-3c4d-4bf9-80a7-5182f89cb293" providerId="ADAL" clId="{C69EC224-7693-4801-B2CE-45866694736E}" dt="2021-01-06T11:31:20.719" v="335" actId="1076"/>
          <ac:spMkLst>
            <pc:docMk/>
            <pc:sldMk cId="4091957854" sldId="256"/>
            <ac:spMk id="36" creationId="{17FCC1E7-2BB9-4E8C-AC3B-A45FB57AD2F7}"/>
          </ac:spMkLst>
        </pc:spChg>
        <pc:spChg chg="del mod">
          <ac:chgData name="Horn, Angelina" userId="17de84f0-3c4d-4bf9-80a7-5182f89cb293" providerId="ADAL" clId="{C69EC224-7693-4801-B2CE-45866694736E}" dt="2021-01-06T20:34:03.122" v="353" actId="478"/>
          <ac:spMkLst>
            <pc:docMk/>
            <pc:sldMk cId="4091957854" sldId="256"/>
            <ac:spMk id="38" creationId="{8A2DD3D1-8F6A-41D2-A4B6-E02C732B21AC}"/>
          </ac:spMkLst>
        </pc:spChg>
        <pc:spChg chg="mod">
          <ac:chgData name="Horn, Angelina" userId="17de84f0-3c4d-4bf9-80a7-5182f89cb293" providerId="ADAL" clId="{C69EC224-7693-4801-B2CE-45866694736E}" dt="2021-01-06T10:46:24.940" v="78" actId="1076"/>
          <ac:spMkLst>
            <pc:docMk/>
            <pc:sldMk cId="4091957854" sldId="256"/>
            <ac:spMk id="40" creationId="{28AD6633-3E28-439E-BBA2-F027CE4C5BEF}"/>
          </ac:spMkLst>
        </pc:spChg>
        <pc:spChg chg="mod">
          <ac:chgData name="Horn, Angelina" userId="17de84f0-3c4d-4bf9-80a7-5182f89cb293" providerId="ADAL" clId="{C69EC224-7693-4801-B2CE-45866694736E}" dt="2021-01-06T11:30:40.318" v="333" actId="688"/>
          <ac:spMkLst>
            <pc:docMk/>
            <pc:sldMk cId="4091957854" sldId="256"/>
            <ac:spMk id="41" creationId="{0AD7B7BA-2848-4571-ABED-434685C15A99}"/>
          </ac:spMkLst>
        </pc:spChg>
        <pc:spChg chg="del mod">
          <ac:chgData name="Horn, Angelina" userId="17de84f0-3c4d-4bf9-80a7-5182f89cb293" providerId="ADAL" clId="{C69EC224-7693-4801-B2CE-45866694736E}" dt="2021-01-06T20:34:05.838" v="355" actId="478"/>
          <ac:spMkLst>
            <pc:docMk/>
            <pc:sldMk cId="4091957854" sldId="256"/>
            <ac:spMk id="43" creationId="{3D1CC4C8-5821-48A4-B3BE-B2704ADDE33E}"/>
          </ac:spMkLst>
        </pc:spChg>
        <pc:spChg chg="mod">
          <ac:chgData name="Horn, Angelina" userId="17de84f0-3c4d-4bf9-80a7-5182f89cb293" providerId="ADAL" clId="{C69EC224-7693-4801-B2CE-45866694736E}" dt="2021-01-06T11:30:33.990" v="332" actId="688"/>
          <ac:spMkLst>
            <pc:docMk/>
            <pc:sldMk cId="4091957854" sldId="256"/>
            <ac:spMk id="46" creationId="{8CB36DD8-50E3-414C-99B7-110FD1FFD6AB}"/>
          </ac:spMkLst>
        </pc:spChg>
        <pc:spChg chg="add mod">
          <ac:chgData name="Horn, Angelina" userId="17de84f0-3c4d-4bf9-80a7-5182f89cb293" providerId="ADAL" clId="{C69EC224-7693-4801-B2CE-45866694736E}" dt="2021-01-06T20:46:40.692" v="553" actId="1076"/>
          <ac:spMkLst>
            <pc:docMk/>
            <pc:sldMk cId="4091957854" sldId="256"/>
            <ac:spMk id="47" creationId="{8245B961-5DA7-46FC-AF57-4B45E80A001C}"/>
          </ac:spMkLst>
        </pc:spChg>
        <pc:spChg chg="add mod">
          <ac:chgData name="Horn, Angelina" userId="17de84f0-3c4d-4bf9-80a7-5182f89cb293" providerId="ADAL" clId="{C69EC224-7693-4801-B2CE-45866694736E}" dt="2021-01-06T20:37:47.854" v="434" actId="20577"/>
          <ac:spMkLst>
            <pc:docMk/>
            <pc:sldMk cId="4091957854" sldId="256"/>
            <ac:spMk id="48" creationId="{1BF43CBD-73A0-4ED4-BA40-4B8CBEDC6674}"/>
          </ac:spMkLst>
        </pc:spChg>
        <pc:spChg chg="del mod">
          <ac:chgData name="Horn, Angelina" userId="17de84f0-3c4d-4bf9-80a7-5182f89cb293" providerId="ADAL" clId="{C69EC224-7693-4801-B2CE-45866694736E}" dt="2021-01-06T10:42:51.233" v="32" actId="478"/>
          <ac:spMkLst>
            <pc:docMk/>
            <pc:sldMk cId="4091957854" sldId="256"/>
            <ac:spMk id="51" creationId="{0FE3BB53-9D90-4853-86A0-BC0AF2C1E9B6}"/>
          </ac:spMkLst>
        </pc:spChg>
        <pc:spChg chg="mod">
          <ac:chgData name="Horn, Angelina" userId="17de84f0-3c4d-4bf9-80a7-5182f89cb293" providerId="ADAL" clId="{C69EC224-7693-4801-B2CE-45866694736E}" dt="2021-01-06T11:25:43.512" v="292" actId="404"/>
          <ac:spMkLst>
            <pc:docMk/>
            <pc:sldMk cId="4091957854" sldId="256"/>
            <ac:spMk id="52" creationId="{F196B3C1-D4E1-4142-8151-2E737B6206F8}"/>
          </ac:spMkLst>
        </pc:spChg>
        <pc:spChg chg="add mod">
          <ac:chgData name="Horn, Angelina" userId="17de84f0-3c4d-4bf9-80a7-5182f89cb293" providerId="ADAL" clId="{C69EC224-7693-4801-B2CE-45866694736E}" dt="2021-01-06T20:43:58.196" v="535" actId="1076"/>
          <ac:spMkLst>
            <pc:docMk/>
            <pc:sldMk cId="4091957854" sldId="256"/>
            <ac:spMk id="56" creationId="{721B8FD1-A0C7-4FD4-AD5C-7BD3B3BD0C9C}"/>
          </ac:spMkLst>
        </pc:spChg>
        <pc:spChg chg="del mod">
          <ac:chgData name="Horn, Angelina" userId="17de84f0-3c4d-4bf9-80a7-5182f89cb293" providerId="ADAL" clId="{C69EC224-7693-4801-B2CE-45866694736E}" dt="2021-01-06T10:43:00.886" v="37" actId="478"/>
          <ac:spMkLst>
            <pc:docMk/>
            <pc:sldMk cId="4091957854" sldId="256"/>
            <ac:spMk id="59" creationId="{5479D107-0C5B-4980-8658-4FD17A772EDF}"/>
          </ac:spMkLst>
        </pc:spChg>
        <pc:spChg chg="add mod">
          <ac:chgData name="Horn, Angelina" userId="17de84f0-3c4d-4bf9-80a7-5182f89cb293" providerId="ADAL" clId="{C69EC224-7693-4801-B2CE-45866694736E}" dt="2021-01-06T20:42:51.972" v="516" actId="1076"/>
          <ac:spMkLst>
            <pc:docMk/>
            <pc:sldMk cId="4091957854" sldId="256"/>
            <ac:spMk id="64" creationId="{27F805F7-AF9B-4421-B117-61078BC1D1FD}"/>
          </ac:spMkLst>
        </pc:spChg>
        <pc:spChg chg="del">
          <ac:chgData name="Horn, Angelina" userId="17de84f0-3c4d-4bf9-80a7-5182f89cb293" providerId="ADAL" clId="{C69EC224-7693-4801-B2CE-45866694736E}" dt="2021-01-06T10:43:20.799" v="49" actId="478"/>
          <ac:spMkLst>
            <pc:docMk/>
            <pc:sldMk cId="4091957854" sldId="256"/>
            <ac:spMk id="64" creationId="{46ECB91D-FDDF-4B95-AE26-3C2B95A4BC92}"/>
          </ac:spMkLst>
        </pc:spChg>
        <pc:spChg chg="add mod">
          <ac:chgData name="Horn, Angelina" userId="17de84f0-3c4d-4bf9-80a7-5182f89cb293" providerId="ADAL" clId="{C69EC224-7693-4801-B2CE-45866694736E}" dt="2021-01-06T20:42:47.917" v="515" actId="1076"/>
          <ac:spMkLst>
            <pc:docMk/>
            <pc:sldMk cId="4091957854" sldId="256"/>
            <ac:spMk id="66" creationId="{BCEEC36F-637B-4CD7-862F-31841DE32718}"/>
          </ac:spMkLst>
        </pc:spChg>
        <pc:spChg chg="del mod">
          <ac:chgData name="Horn, Angelina" userId="17de84f0-3c4d-4bf9-80a7-5182f89cb293" providerId="ADAL" clId="{C69EC224-7693-4801-B2CE-45866694736E}" dt="2021-01-06T10:42:58.647" v="35" actId="478"/>
          <ac:spMkLst>
            <pc:docMk/>
            <pc:sldMk cId="4091957854" sldId="256"/>
            <ac:spMk id="68" creationId="{CB7C1AD9-0D94-4660-AA6F-9B37D50C97A1}"/>
          </ac:spMkLst>
        </pc:spChg>
        <pc:spChg chg="mod">
          <ac:chgData name="Horn, Angelina" userId="17de84f0-3c4d-4bf9-80a7-5182f89cb293" providerId="ADAL" clId="{C69EC224-7693-4801-B2CE-45866694736E}" dt="2021-01-06T11:28:44.968" v="321" actId="1076"/>
          <ac:spMkLst>
            <pc:docMk/>
            <pc:sldMk cId="4091957854" sldId="256"/>
            <ac:spMk id="74" creationId="{47793985-A8EE-45F5-8DCF-106047B1D4E9}"/>
          </ac:spMkLst>
        </pc:spChg>
        <pc:spChg chg="add del mod">
          <ac:chgData name="Horn, Angelina" userId="17de84f0-3c4d-4bf9-80a7-5182f89cb293" providerId="ADAL" clId="{C69EC224-7693-4801-B2CE-45866694736E}" dt="2021-01-06T20:42:20.003" v="510" actId="478"/>
          <ac:spMkLst>
            <pc:docMk/>
            <pc:sldMk cId="4091957854" sldId="256"/>
            <ac:spMk id="80" creationId="{3C470E9E-AAC5-449B-B45C-4BA09F918B5F}"/>
          </ac:spMkLst>
        </pc:spChg>
        <pc:spChg chg="add mod">
          <ac:chgData name="Horn, Angelina" userId="17de84f0-3c4d-4bf9-80a7-5182f89cb293" providerId="ADAL" clId="{C69EC224-7693-4801-B2CE-45866694736E}" dt="2021-01-06T20:44:00.782" v="542" actId="20577"/>
          <ac:spMkLst>
            <pc:docMk/>
            <pc:sldMk cId="4091957854" sldId="256"/>
            <ac:spMk id="81" creationId="{17794855-78CB-49AF-87DF-68DCD8A46B2C}"/>
          </ac:spMkLst>
        </pc:spChg>
        <pc:spChg chg="add del mod">
          <ac:chgData name="Horn, Angelina" userId="17de84f0-3c4d-4bf9-80a7-5182f89cb293" providerId="ADAL" clId="{C69EC224-7693-4801-B2CE-45866694736E}" dt="2021-01-06T20:52:27.128" v="588" actId="478"/>
          <ac:spMkLst>
            <pc:docMk/>
            <pc:sldMk cId="4091957854" sldId="256"/>
            <ac:spMk id="83" creationId="{21A5B4AF-7C04-4D99-A6B5-3C9C55543628}"/>
          </ac:spMkLst>
        </pc:spChg>
        <pc:spChg chg="add del mod">
          <ac:chgData name="Horn, Angelina" userId="17de84f0-3c4d-4bf9-80a7-5182f89cb293" providerId="ADAL" clId="{C69EC224-7693-4801-B2CE-45866694736E}" dt="2021-01-06T20:52:50.743" v="590" actId="478"/>
          <ac:spMkLst>
            <pc:docMk/>
            <pc:sldMk cId="4091957854" sldId="256"/>
            <ac:spMk id="84" creationId="{9A0EE0D1-11FA-473C-8326-EC3279A4E436}"/>
          </ac:spMkLst>
        </pc:spChg>
        <pc:spChg chg="add del mod ord">
          <ac:chgData name="Horn, Angelina" userId="17de84f0-3c4d-4bf9-80a7-5182f89cb293" providerId="ADAL" clId="{C69EC224-7693-4801-B2CE-45866694736E}" dt="2021-01-06T20:53:48.710" v="593" actId="478"/>
          <ac:spMkLst>
            <pc:docMk/>
            <pc:sldMk cId="4091957854" sldId="256"/>
            <ac:spMk id="85" creationId="{411BAC81-AB8B-463A-AFE6-A1CA07B6D3E0}"/>
          </ac:spMkLst>
        </pc:spChg>
        <pc:spChg chg="add del mod">
          <ac:chgData name="Horn, Angelina" userId="17de84f0-3c4d-4bf9-80a7-5182f89cb293" providerId="ADAL" clId="{C69EC224-7693-4801-B2CE-45866694736E}" dt="2021-01-06T20:44:41.085" v="545" actId="478"/>
          <ac:spMkLst>
            <pc:docMk/>
            <pc:sldMk cId="4091957854" sldId="256"/>
            <ac:spMk id="92" creationId="{78A0DA5B-C5E5-4333-9342-229D2BDCF787}"/>
          </ac:spMkLst>
        </pc:spChg>
        <pc:spChg chg="add mod">
          <ac:chgData name="Horn, Angelina" userId="17de84f0-3c4d-4bf9-80a7-5182f89cb293" providerId="ADAL" clId="{C69EC224-7693-4801-B2CE-45866694736E}" dt="2021-01-06T20:47:08.788" v="571" actId="1076"/>
          <ac:spMkLst>
            <pc:docMk/>
            <pc:sldMk cId="4091957854" sldId="256"/>
            <ac:spMk id="97" creationId="{C1EC443C-50E4-49F1-BCFF-2C7462B398F1}"/>
          </ac:spMkLst>
        </pc:spChg>
        <pc:spChg chg="add mod">
          <ac:chgData name="Horn, Angelina" userId="17de84f0-3c4d-4bf9-80a7-5182f89cb293" providerId="ADAL" clId="{C69EC224-7693-4801-B2CE-45866694736E}" dt="2021-01-06T20:47:21.611" v="581" actId="1076"/>
          <ac:spMkLst>
            <pc:docMk/>
            <pc:sldMk cId="4091957854" sldId="256"/>
            <ac:spMk id="98" creationId="{16B91D41-1397-43BB-B86F-F79BE12E7BF9}"/>
          </ac:spMkLst>
        </pc:spChg>
        <pc:spChg chg="mod">
          <ac:chgData name="Horn, Angelina" userId="17de84f0-3c4d-4bf9-80a7-5182f89cb293" providerId="ADAL" clId="{C69EC224-7693-4801-B2CE-45866694736E}" dt="2021-01-06T20:36:14.277" v="385" actId="122"/>
          <ac:spMkLst>
            <pc:docMk/>
            <pc:sldMk cId="4091957854" sldId="256"/>
            <ac:spMk id="108" creationId="{9E8BA6A1-A6DC-451C-8541-37166907CB32}"/>
          </ac:spMkLst>
        </pc:spChg>
        <pc:spChg chg="add del mod">
          <ac:chgData name="Horn, Angelina" userId="17de84f0-3c4d-4bf9-80a7-5182f89cb293" providerId="ADAL" clId="{C69EC224-7693-4801-B2CE-45866694736E}" dt="2021-01-06T20:55:16.923" v="597" actId="478"/>
          <ac:spMkLst>
            <pc:docMk/>
            <pc:sldMk cId="4091957854" sldId="256"/>
            <ac:spMk id="109" creationId="{70648A86-DF0C-47A9-BA3A-954C2008B391}"/>
          </ac:spMkLst>
        </pc:spChg>
        <pc:spChg chg="add mod">
          <ac:chgData name="Horn, Angelina" userId="17de84f0-3c4d-4bf9-80a7-5182f89cb293" providerId="ADAL" clId="{C69EC224-7693-4801-B2CE-45866694736E}" dt="2021-01-06T11:28:02.697" v="315" actId="1076"/>
          <ac:spMkLst>
            <pc:docMk/>
            <pc:sldMk cId="4091957854" sldId="256"/>
            <ac:spMk id="210" creationId="{A50D6072-400B-46E1-B1EB-BF9C43230475}"/>
          </ac:spMkLst>
        </pc:spChg>
        <pc:spChg chg="add mod">
          <ac:chgData name="Horn, Angelina" userId="17de84f0-3c4d-4bf9-80a7-5182f89cb293" providerId="ADAL" clId="{C69EC224-7693-4801-B2CE-45866694736E}" dt="2021-01-06T11:28:56.648" v="323" actId="1076"/>
          <ac:spMkLst>
            <pc:docMk/>
            <pc:sldMk cId="4091957854" sldId="256"/>
            <ac:spMk id="211" creationId="{3A3A8FB1-3200-4D9C-850D-DC614A6A585D}"/>
          </ac:spMkLst>
        </pc:spChg>
        <pc:spChg chg="add del mod">
          <ac:chgData name="Horn, Angelina" userId="17de84f0-3c4d-4bf9-80a7-5182f89cb293" providerId="ADAL" clId="{C69EC224-7693-4801-B2CE-45866694736E}" dt="2021-01-06T20:34:04.237" v="354" actId="478"/>
          <ac:spMkLst>
            <pc:docMk/>
            <pc:sldMk cId="4091957854" sldId="256"/>
            <ac:spMk id="212" creationId="{B54DB1A0-A9F0-4BF9-9227-C52D84244D7F}"/>
          </ac:spMkLst>
        </pc:spChg>
        <pc:spChg chg="add mod">
          <ac:chgData name="Horn, Angelina" userId="17de84f0-3c4d-4bf9-80a7-5182f89cb293" providerId="ADAL" clId="{C69EC224-7693-4801-B2CE-45866694736E}" dt="2021-01-06T11:24:38.506" v="274" actId="404"/>
          <ac:spMkLst>
            <pc:docMk/>
            <pc:sldMk cId="4091957854" sldId="256"/>
            <ac:spMk id="214" creationId="{0D5A3FBA-5744-4811-ADA6-6A21367E2C7F}"/>
          </ac:spMkLst>
        </pc:spChg>
        <pc:spChg chg="add mod">
          <ac:chgData name="Horn, Angelina" userId="17de84f0-3c4d-4bf9-80a7-5182f89cb293" providerId="ADAL" clId="{C69EC224-7693-4801-B2CE-45866694736E}" dt="2021-01-06T20:55:22.745" v="598" actId="1076"/>
          <ac:spMkLst>
            <pc:docMk/>
            <pc:sldMk cId="4091957854" sldId="256"/>
            <ac:spMk id="216" creationId="{25980747-2E19-4C55-B322-4FF2963A2E0D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17" creationId="{6FCC1832-5453-4329-A415-EF9C1ADCDB04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18" creationId="{14293D91-67B7-40EB-A587-FBE17947EA39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19" creationId="{00D1E938-ED4B-41F4-B5F5-AFB79BFFF5FD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20" creationId="{BBF2352B-2116-47BD-AEED-740946B89B28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21" creationId="{283F60D6-1A9C-4158-96F8-66D8D10B3386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22" creationId="{8F50066E-976F-486E-8D3C-06D52E6E9FA4}"/>
          </ac:spMkLst>
        </pc:spChg>
        <pc:picChg chg="add del mod">
          <ac:chgData name="Horn, Angelina" userId="17de84f0-3c4d-4bf9-80a7-5182f89cb293" providerId="ADAL" clId="{C69EC224-7693-4801-B2CE-45866694736E}" dt="2021-01-06T20:36:37.030" v="386" actId="478"/>
          <ac:picMkLst>
            <pc:docMk/>
            <pc:sldMk cId="4091957854" sldId="256"/>
            <ac:picMk id="4" creationId="{CD8ADF3B-7600-4B01-A516-96514B45E908}"/>
          </ac:picMkLst>
        </pc:picChg>
        <pc:picChg chg="add mod">
          <ac:chgData name="Horn, Angelina" userId="17de84f0-3c4d-4bf9-80a7-5182f89cb293" providerId="ADAL" clId="{C69EC224-7693-4801-B2CE-45866694736E}" dt="2021-01-06T20:37:20.807" v="394" actId="1076"/>
          <ac:picMkLst>
            <pc:docMk/>
            <pc:sldMk cId="4091957854" sldId="256"/>
            <ac:picMk id="6" creationId="{9BE2FF45-C6F7-47B1-A595-D5A63096B404}"/>
          </ac:picMkLst>
        </pc:picChg>
        <pc:picChg chg="add mod">
          <ac:chgData name="Horn, Angelina" userId="17de84f0-3c4d-4bf9-80a7-5182f89cb293" providerId="ADAL" clId="{C69EC224-7693-4801-B2CE-45866694736E}" dt="2021-01-06T20:37:15.662" v="393" actId="1076"/>
          <ac:picMkLst>
            <pc:docMk/>
            <pc:sldMk cId="4091957854" sldId="256"/>
            <ac:picMk id="8" creationId="{EA8D1B29-F7C7-4B2C-B5E1-9C3A50FAD3DD}"/>
          </ac:picMkLst>
        </pc:picChg>
        <pc:picChg chg="del mod">
          <ac:chgData name="Horn, Angelina" userId="17de84f0-3c4d-4bf9-80a7-5182f89cb293" providerId="ADAL" clId="{C69EC224-7693-4801-B2CE-45866694736E}" dt="2021-01-06T11:13:03.800" v="256" actId="478"/>
          <ac:picMkLst>
            <pc:docMk/>
            <pc:sldMk cId="4091957854" sldId="256"/>
            <ac:picMk id="9" creationId="{DA638DA1-40CC-4FC6-88C1-BEDBBC6138CD}"/>
          </ac:picMkLst>
        </pc:picChg>
        <pc:picChg chg="mod">
          <ac:chgData name="Horn, Angelina" userId="17de84f0-3c4d-4bf9-80a7-5182f89cb293" providerId="ADAL" clId="{C69EC224-7693-4801-B2CE-45866694736E}" dt="2021-01-06T10:44:29.658" v="61" actId="1076"/>
          <ac:picMkLst>
            <pc:docMk/>
            <pc:sldMk cId="4091957854" sldId="256"/>
            <ac:picMk id="11" creationId="{99366DB1-3600-49BF-B4E9-5E0618B42AF1}"/>
          </ac:picMkLst>
        </pc:picChg>
        <pc:picChg chg="mod">
          <ac:chgData name="Horn, Angelina" userId="17de84f0-3c4d-4bf9-80a7-5182f89cb293" providerId="ADAL" clId="{C69EC224-7693-4801-B2CE-45866694736E}" dt="2021-01-06T11:30:17.727" v="329" actId="1076"/>
          <ac:picMkLst>
            <pc:docMk/>
            <pc:sldMk cId="4091957854" sldId="256"/>
            <ac:picMk id="15" creationId="{5DB76DA0-20DE-4E59-8B20-5A239B7A99A7}"/>
          </ac:picMkLst>
        </pc:picChg>
        <pc:picChg chg="del mod">
          <ac:chgData name="Horn, Angelina" userId="17de84f0-3c4d-4bf9-80a7-5182f89cb293" providerId="ADAL" clId="{C69EC224-7693-4801-B2CE-45866694736E}" dt="2021-01-06T11:23:42.484" v="264" actId="478"/>
          <ac:picMkLst>
            <pc:docMk/>
            <pc:sldMk cId="4091957854" sldId="256"/>
            <ac:picMk id="17" creationId="{BD87C7A4-6345-4CBD-974F-E232861865E1}"/>
          </ac:picMkLst>
        </pc:picChg>
        <pc:picChg chg="del mod">
          <ac:chgData name="Horn, Angelina" userId="17de84f0-3c4d-4bf9-80a7-5182f89cb293" providerId="ADAL" clId="{C69EC224-7693-4801-B2CE-45866694736E}" dt="2021-01-06T11:12:12.006" v="248" actId="478"/>
          <ac:picMkLst>
            <pc:docMk/>
            <pc:sldMk cId="4091957854" sldId="256"/>
            <ac:picMk id="19" creationId="{269B7B38-DC78-4DE3-A942-07CB92ACCB7B}"/>
          </ac:picMkLst>
        </pc:picChg>
        <pc:picChg chg="add mod">
          <ac:chgData name="Horn, Angelina" userId="17de84f0-3c4d-4bf9-80a7-5182f89cb293" providerId="ADAL" clId="{C69EC224-7693-4801-B2CE-45866694736E}" dt="2021-01-06T20:42:42.949" v="514" actId="1076"/>
          <ac:picMkLst>
            <pc:docMk/>
            <pc:sldMk cId="4091957854" sldId="256"/>
            <ac:picMk id="20" creationId="{2F2D8A6C-C212-49C2-9C83-BDB83A2EC2D3}"/>
          </ac:picMkLst>
        </pc:picChg>
        <pc:picChg chg="mod">
          <ac:chgData name="Horn, Angelina" userId="17de84f0-3c4d-4bf9-80a7-5182f89cb293" providerId="ADAL" clId="{C69EC224-7693-4801-B2CE-45866694736E}" dt="2021-01-06T11:32:31.408" v="342" actId="1076"/>
          <ac:picMkLst>
            <pc:docMk/>
            <pc:sldMk cId="4091957854" sldId="256"/>
            <ac:picMk id="21" creationId="{43822395-2C17-419B-8878-9FF4857EDAEA}"/>
          </ac:picMkLst>
        </pc:picChg>
        <pc:picChg chg="mod">
          <ac:chgData name="Horn, Angelina" userId="17de84f0-3c4d-4bf9-80a7-5182f89cb293" providerId="ADAL" clId="{C69EC224-7693-4801-B2CE-45866694736E}" dt="2021-01-06T11:31:06.856" v="334" actId="1076"/>
          <ac:picMkLst>
            <pc:docMk/>
            <pc:sldMk cId="4091957854" sldId="256"/>
            <ac:picMk id="23" creationId="{DFBFA669-97A8-45BB-9887-0066F16F4EA0}"/>
          </ac:picMkLst>
        </pc:picChg>
        <pc:picChg chg="add del mod">
          <ac:chgData name="Horn, Angelina" userId="17de84f0-3c4d-4bf9-80a7-5182f89cb293" providerId="ADAL" clId="{C69EC224-7693-4801-B2CE-45866694736E}" dt="2021-01-06T20:36:37.433" v="387" actId="478"/>
          <ac:picMkLst>
            <pc:docMk/>
            <pc:sldMk cId="4091957854" sldId="256"/>
            <ac:picMk id="42" creationId="{F2FCC806-A4BF-4383-9879-AAB294DF4004}"/>
          </ac:picMkLst>
        </pc:picChg>
        <pc:picChg chg="add mod">
          <ac:chgData name="Horn, Angelina" userId="17de84f0-3c4d-4bf9-80a7-5182f89cb293" providerId="ADAL" clId="{C69EC224-7693-4801-B2CE-45866694736E}" dt="2021-01-06T20:42:39.524" v="513" actId="1076"/>
          <ac:picMkLst>
            <pc:docMk/>
            <pc:sldMk cId="4091957854" sldId="256"/>
            <ac:picMk id="67" creationId="{3DAEDDE1-468D-438F-8136-B9D2C3765F23}"/>
          </ac:picMkLst>
        </pc:picChg>
        <pc:picChg chg="mod">
          <ac:chgData name="Horn, Angelina" userId="17de84f0-3c4d-4bf9-80a7-5182f89cb293" providerId="ADAL" clId="{C69EC224-7693-4801-B2CE-45866694736E}" dt="2021-01-06T11:29:30.473" v="325" actId="14100"/>
          <ac:picMkLst>
            <pc:docMk/>
            <pc:sldMk cId="4091957854" sldId="256"/>
            <ac:picMk id="107" creationId="{12B0844C-87A4-43E9-9ED9-4EFC70D15FBD}"/>
          </ac:picMkLst>
        </pc:picChg>
        <pc:picChg chg="add del">
          <ac:chgData name="Horn, Angelina" userId="17de84f0-3c4d-4bf9-80a7-5182f89cb293" providerId="ADAL" clId="{C69EC224-7693-4801-B2CE-45866694736E}" dt="2021-01-06T11:12:09.180" v="246"/>
          <ac:picMkLst>
            <pc:docMk/>
            <pc:sldMk cId="4091957854" sldId="256"/>
            <ac:picMk id="223" creationId="{EB933880-312E-4307-9C24-F44DA19CD503}"/>
          </ac:picMkLst>
        </pc:picChg>
        <pc:picChg chg="add mod">
          <ac:chgData name="Horn, Angelina" userId="17de84f0-3c4d-4bf9-80a7-5182f89cb293" providerId="ADAL" clId="{C69EC224-7693-4801-B2CE-45866694736E}" dt="2021-01-06T11:17:31.796" v="259" actId="1076"/>
          <ac:picMkLst>
            <pc:docMk/>
            <pc:sldMk cId="4091957854" sldId="256"/>
            <ac:picMk id="224" creationId="{91E564DA-5983-4DE2-89E6-19105301D42F}"/>
          </ac:picMkLst>
        </pc:picChg>
        <pc:picChg chg="add del mod">
          <ac:chgData name="Horn, Angelina" userId="17de84f0-3c4d-4bf9-80a7-5182f89cb293" providerId="ADAL" clId="{C69EC224-7693-4801-B2CE-45866694736E}" dt="2021-01-06T20:34:00.115" v="350" actId="478"/>
          <ac:picMkLst>
            <pc:docMk/>
            <pc:sldMk cId="4091957854" sldId="256"/>
            <ac:picMk id="225" creationId="{C418D9B7-2B7D-401E-8668-209AD48F62AE}"/>
          </ac:picMkLst>
        </pc:picChg>
        <pc:picChg chg="add mod">
          <ac:chgData name="Horn, Angelina" userId="17de84f0-3c4d-4bf9-80a7-5182f89cb293" providerId="ADAL" clId="{C69EC224-7693-4801-B2CE-45866694736E}" dt="2021-01-06T11:24:18.519" v="272" actId="1076"/>
          <ac:picMkLst>
            <pc:docMk/>
            <pc:sldMk cId="4091957854" sldId="256"/>
            <ac:picMk id="232" creationId="{13486ACE-A404-4DDD-BA94-42481D816347}"/>
          </ac:picMkLst>
        </pc:picChg>
        <pc:cxnChg chg="add del mod">
          <ac:chgData name="Horn, Angelina" userId="17de84f0-3c4d-4bf9-80a7-5182f89cb293" providerId="ADAL" clId="{C69EC224-7693-4801-B2CE-45866694736E}" dt="2021-01-06T20:38:07.339" v="438" actId="478"/>
          <ac:cxnSpMkLst>
            <pc:docMk/>
            <pc:sldMk cId="4091957854" sldId="256"/>
            <ac:cxnSpMk id="10" creationId="{B1705E93-8F3D-4758-84DE-074E34D33420}"/>
          </ac:cxnSpMkLst>
        </pc:cxnChg>
        <pc:cxnChg chg="add del mod">
          <ac:chgData name="Horn, Angelina" userId="17de84f0-3c4d-4bf9-80a7-5182f89cb293" providerId="ADAL" clId="{C69EC224-7693-4801-B2CE-45866694736E}" dt="2021-01-06T20:38:06.548" v="437" actId="478"/>
          <ac:cxnSpMkLst>
            <pc:docMk/>
            <pc:sldMk cId="4091957854" sldId="256"/>
            <ac:cxnSpMk id="13" creationId="{FB5C222C-60DA-4D43-80E1-FF7C791FEB19}"/>
          </ac:cxnSpMkLst>
        </pc:cxnChg>
        <pc:cxnChg chg="add mod">
          <ac:chgData name="Horn, Angelina" userId="17de84f0-3c4d-4bf9-80a7-5182f89cb293" providerId="ADAL" clId="{C69EC224-7693-4801-B2CE-45866694736E}" dt="2021-01-06T20:44:54.507" v="546" actId="208"/>
          <ac:cxnSpMkLst>
            <pc:docMk/>
            <pc:sldMk cId="4091957854" sldId="256"/>
            <ac:cxnSpMk id="16" creationId="{828CF341-BC4B-49DB-9EDF-47749AD8540E}"/>
          </ac:cxnSpMkLst>
        </pc:cxnChg>
        <pc:cxnChg chg="add mod">
          <ac:chgData name="Horn, Angelina" userId="17de84f0-3c4d-4bf9-80a7-5182f89cb293" providerId="ADAL" clId="{C69EC224-7693-4801-B2CE-45866694736E}" dt="2021-01-06T20:44:54.507" v="546" actId="208"/>
          <ac:cxnSpMkLst>
            <pc:docMk/>
            <pc:sldMk cId="4091957854" sldId="256"/>
            <ac:cxnSpMk id="18" creationId="{600B41B5-A213-4F15-9EEE-F0324AE46BD6}"/>
          </ac:cxnSpMkLst>
        </pc:cxnChg>
        <pc:cxnChg chg="add mod">
          <ac:chgData name="Horn, Angelina" userId="17de84f0-3c4d-4bf9-80a7-5182f89cb293" providerId="ADAL" clId="{C69EC224-7693-4801-B2CE-45866694736E}" dt="2021-01-06T20:44:54.507" v="546" actId="208"/>
          <ac:cxnSpMkLst>
            <pc:docMk/>
            <pc:sldMk cId="4091957854" sldId="256"/>
            <ac:cxnSpMk id="24" creationId="{274A06D7-F0DF-49A7-9F80-2A375FC8EDB9}"/>
          </ac:cxnSpMkLst>
        </pc:cxnChg>
        <pc:cxnChg chg="del mod">
          <ac:chgData name="Horn, Angelina" userId="17de84f0-3c4d-4bf9-80a7-5182f89cb293" providerId="ADAL" clId="{C69EC224-7693-4801-B2CE-45866694736E}" dt="2021-01-06T10:43:12.928" v="43" actId="478"/>
          <ac:cxnSpMkLst>
            <pc:docMk/>
            <pc:sldMk cId="4091957854" sldId="256"/>
            <ac:cxnSpMk id="25" creationId="{1E6552DB-4099-4276-8175-7C1D9F7C2C7B}"/>
          </ac:cxnSpMkLst>
        </pc:cxnChg>
        <pc:cxnChg chg="add mod">
          <ac:chgData name="Horn, Angelina" userId="17de84f0-3c4d-4bf9-80a7-5182f89cb293" providerId="ADAL" clId="{C69EC224-7693-4801-B2CE-45866694736E}" dt="2021-01-06T20:46:45.516" v="554" actId="14100"/>
          <ac:cxnSpMkLst>
            <pc:docMk/>
            <pc:sldMk cId="4091957854" sldId="256"/>
            <ac:cxnSpMk id="26" creationId="{30F60652-A19C-459E-A007-D43A1F8A538E}"/>
          </ac:cxnSpMkLst>
        </pc:cxnChg>
        <pc:cxnChg chg="mod">
          <ac:chgData name="Horn, Angelina" userId="17de84f0-3c4d-4bf9-80a7-5182f89cb293" providerId="ADAL" clId="{C69EC224-7693-4801-B2CE-45866694736E}" dt="2021-01-06T11:32:31.408" v="342" actId="1076"/>
          <ac:cxnSpMkLst>
            <pc:docMk/>
            <pc:sldMk cId="4091957854" sldId="256"/>
            <ac:cxnSpMk id="27" creationId="{D0BF6CE5-EF20-4558-A7D3-520AB352FF99}"/>
          </ac:cxnSpMkLst>
        </pc:cxnChg>
        <pc:cxnChg chg="del mod">
          <ac:chgData name="Horn, Angelina" userId="17de84f0-3c4d-4bf9-80a7-5182f89cb293" providerId="ADAL" clId="{C69EC224-7693-4801-B2CE-45866694736E}" dt="2021-01-06T10:43:22.247" v="51" actId="478"/>
          <ac:cxnSpMkLst>
            <pc:docMk/>
            <pc:sldMk cId="4091957854" sldId="256"/>
            <ac:cxnSpMk id="29" creationId="{029406C2-54C2-4A07-B729-2B86C7C434D6}"/>
          </ac:cxnSpMkLst>
        </pc:cxnChg>
        <pc:cxnChg chg="add del mod">
          <ac:chgData name="Horn, Angelina" userId="17de84f0-3c4d-4bf9-80a7-5182f89cb293" providerId="ADAL" clId="{C69EC224-7693-4801-B2CE-45866694736E}" dt="2021-01-06T20:43:36.274" v="519" actId="478"/>
          <ac:cxnSpMkLst>
            <pc:docMk/>
            <pc:sldMk cId="4091957854" sldId="256"/>
            <ac:cxnSpMk id="35" creationId="{A60880B8-D116-4266-80AC-34572D7D40EC}"/>
          </ac:cxnSpMkLst>
        </pc:cxnChg>
        <pc:cxnChg chg="add del mod">
          <ac:chgData name="Horn, Angelina" userId="17de84f0-3c4d-4bf9-80a7-5182f89cb293" providerId="ADAL" clId="{C69EC224-7693-4801-B2CE-45866694736E}" dt="2021-01-06T20:42:24.200" v="511" actId="478"/>
          <ac:cxnSpMkLst>
            <pc:docMk/>
            <pc:sldMk cId="4091957854" sldId="256"/>
            <ac:cxnSpMk id="39" creationId="{E0AD9DC1-A490-49BE-9E21-AAF016CC5F6A}"/>
          </ac:cxnSpMkLst>
        </pc:cxnChg>
        <pc:cxnChg chg="del mod">
          <ac:chgData name="Horn, Angelina" userId="17de84f0-3c4d-4bf9-80a7-5182f89cb293" providerId="ADAL" clId="{C69EC224-7693-4801-B2CE-45866694736E}" dt="2021-01-06T10:43:13.867" v="44" actId="478"/>
          <ac:cxnSpMkLst>
            <pc:docMk/>
            <pc:sldMk cId="4091957854" sldId="256"/>
            <ac:cxnSpMk id="45" creationId="{816EE22E-C0C6-40FD-9B46-31D9E3EFE84F}"/>
          </ac:cxnSpMkLst>
        </pc:cxnChg>
        <pc:cxnChg chg="del mod">
          <ac:chgData name="Horn, Angelina" userId="17de84f0-3c4d-4bf9-80a7-5182f89cb293" providerId="ADAL" clId="{C69EC224-7693-4801-B2CE-45866694736E}" dt="2021-01-06T10:43:10.873" v="41" actId="478"/>
          <ac:cxnSpMkLst>
            <pc:docMk/>
            <pc:sldMk cId="4091957854" sldId="256"/>
            <ac:cxnSpMk id="54" creationId="{AD4359DC-9618-46C9-B867-630D9FCBD01B}"/>
          </ac:cxnSpMkLst>
        </pc:cxnChg>
        <pc:cxnChg chg="del mod">
          <ac:chgData name="Horn, Angelina" userId="17de84f0-3c4d-4bf9-80a7-5182f89cb293" providerId="ADAL" clId="{C69EC224-7693-4801-B2CE-45866694736E}" dt="2021-01-06T10:43:10.351" v="40" actId="478"/>
          <ac:cxnSpMkLst>
            <pc:docMk/>
            <pc:sldMk cId="4091957854" sldId="256"/>
            <ac:cxnSpMk id="58" creationId="{7B5F6CA2-BB3A-4E14-8605-86EEB2B66334}"/>
          </ac:cxnSpMkLst>
        </pc:cxnChg>
        <pc:cxnChg chg="add del mod">
          <ac:chgData name="Horn, Angelina" userId="17de84f0-3c4d-4bf9-80a7-5182f89cb293" providerId="ADAL" clId="{C69EC224-7693-4801-B2CE-45866694736E}" dt="2021-01-06T20:51:20.629" v="582" actId="478"/>
          <ac:cxnSpMkLst>
            <pc:docMk/>
            <pc:sldMk cId="4091957854" sldId="256"/>
            <ac:cxnSpMk id="58" creationId="{C975053D-4CC8-4FD8-A11A-14C6D0DD526F}"/>
          </ac:cxnSpMkLst>
        </pc:cxnChg>
        <pc:cxnChg chg="del mod">
          <ac:chgData name="Horn, Angelina" userId="17de84f0-3c4d-4bf9-80a7-5182f89cb293" providerId="ADAL" clId="{C69EC224-7693-4801-B2CE-45866694736E}" dt="2021-01-06T10:43:14.445" v="45" actId="478"/>
          <ac:cxnSpMkLst>
            <pc:docMk/>
            <pc:sldMk cId="4091957854" sldId="256"/>
            <ac:cxnSpMk id="61" creationId="{33E2D0F4-48D3-42FF-BBBD-ED681D72B9B5}"/>
          </ac:cxnSpMkLst>
        </pc:cxnChg>
        <pc:cxnChg chg="del">
          <ac:chgData name="Horn, Angelina" userId="17de84f0-3c4d-4bf9-80a7-5182f89cb293" providerId="ADAL" clId="{C69EC224-7693-4801-B2CE-45866694736E}" dt="2021-01-06T10:43:21.528" v="50" actId="478"/>
          <ac:cxnSpMkLst>
            <pc:docMk/>
            <pc:sldMk cId="4091957854" sldId="256"/>
            <ac:cxnSpMk id="63" creationId="{AA06B00D-5EAE-4903-A4B9-9226B17BF5CA}"/>
          </ac:cxnSpMkLst>
        </pc:cxnChg>
        <pc:cxnChg chg="del mod">
          <ac:chgData name="Horn, Angelina" userId="17de84f0-3c4d-4bf9-80a7-5182f89cb293" providerId="ADAL" clId="{C69EC224-7693-4801-B2CE-45866694736E}" dt="2021-01-06T10:43:20.405" v="48" actId="478"/>
          <ac:cxnSpMkLst>
            <pc:docMk/>
            <pc:sldMk cId="4091957854" sldId="256"/>
            <ac:cxnSpMk id="67" creationId="{DD25688B-8875-4B86-BF9D-88D11F872713}"/>
          </ac:cxnSpMkLst>
        </pc:cxnChg>
        <pc:cxnChg chg="add del mod">
          <ac:chgData name="Horn, Angelina" userId="17de84f0-3c4d-4bf9-80a7-5182f89cb293" providerId="ADAL" clId="{C69EC224-7693-4801-B2CE-45866694736E}" dt="2021-01-06T20:51:38.839" v="585" actId="478"/>
          <ac:cxnSpMkLst>
            <pc:docMk/>
            <pc:sldMk cId="4091957854" sldId="256"/>
            <ac:cxnSpMk id="69" creationId="{E9C03E4F-2D83-4E93-8181-A92EB1D698AC}"/>
          </ac:cxnSpMkLst>
        </pc:cxnChg>
        <pc:cxnChg chg="del mod">
          <ac:chgData name="Horn, Angelina" userId="17de84f0-3c4d-4bf9-80a7-5182f89cb293" providerId="ADAL" clId="{C69EC224-7693-4801-B2CE-45866694736E}" dt="2021-01-06T10:43:11.676" v="42" actId="478"/>
          <ac:cxnSpMkLst>
            <pc:docMk/>
            <pc:sldMk cId="4091957854" sldId="256"/>
            <ac:cxnSpMk id="72" creationId="{629AB22F-4A9E-4540-942F-C5BDB641BF96}"/>
          </ac:cxnSpMkLst>
        </pc:cxnChg>
        <pc:cxnChg chg="add mod">
          <ac:chgData name="Horn, Angelina" userId="17de84f0-3c4d-4bf9-80a7-5182f89cb293" providerId="ADAL" clId="{C69EC224-7693-4801-B2CE-45866694736E}" dt="2021-01-06T20:54:54.860" v="594" actId="208"/>
          <ac:cxnSpMkLst>
            <pc:docMk/>
            <pc:sldMk cId="4091957854" sldId="256"/>
            <ac:cxnSpMk id="76" creationId="{EA9F5B31-6293-483F-9DE5-1F624AA088EF}"/>
          </ac:cxnSpMkLst>
        </pc:cxnChg>
        <pc:cxnChg chg="add mod">
          <ac:chgData name="Horn, Angelina" userId="17de84f0-3c4d-4bf9-80a7-5182f89cb293" providerId="ADAL" clId="{C69EC224-7693-4801-B2CE-45866694736E}" dt="2021-01-06T20:54:54.860" v="594" actId="208"/>
          <ac:cxnSpMkLst>
            <pc:docMk/>
            <pc:sldMk cId="4091957854" sldId="256"/>
            <ac:cxnSpMk id="78" creationId="{74FE8A16-0798-4B7C-86C8-48BC8AE319E8}"/>
          </ac:cxnSpMkLst>
        </pc:cxnChg>
        <pc:cxnChg chg="add mod">
          <ac:chgData name="Horn, Angelina" userId="17de84f0-3c4d-4bf9-80a7-5182f89cb293" providerId="ADAL" clId="{C69EC224-7693-4801-B2CE-45866694736E}" dt="2021-01-06T20:54:54.860" v="594" actId="208"/>
          <ac:cxnSpMkLst>
            <pc:docMk/>
            <pc:sldMk cId="4091957854" sldId="256"/>
            <ac:cxnSpMk id="82" creationId="{6CC8D32B-CEA8-4E14-9BC2-1FD94865388C}"/>
          </ac:cxnSpMkLst>
        </pc:cxnChg>
        <pc:cxnChg chg="mod">
          <ac:chgData name="Horn, Angelina" userId="17de84f0-3c4d-4bf9-80a7-5182f89cb293" providerId="ADAL" clId="{C69EC224-7693-4801-B2CE-45866694736E}" dt="2021-01-06T11:33:46.474" v="346" actId="1076"/>
          <ac:cxnSpMkLst>
            <pc:docMk/>
            <pc:sldMk cId="4091957854" sldId="256"/>
            <ac:cxnSpMk id="110" creationId="{C631929E-3246-4019-ABD1-7CD14CE07F99}"/>
          </ac:cxnSpMkLst>
        </pc:cxnChg>
        <pc:cxnChg chg="add mod">
          <ac:chgData name="Horn, Angelina" userId="17de84f0-3c4d-4bf9-80a7-5182f89cb293" providerId="ADAL" clId="{C69EC224-7693-4801-B2CE-45866694736E}" dt="2021-01-06T11:04:24.277" v="231" actId="208"/>
          <ac:cxnSpMkLst>
            <pc:docMk/>
            <pc:sldMk cId="4091957854" sldId="256"/>
            <ac:cxnSpMk id="162" creationId="{729A00D5-466E-4DA4-A65A-D1672F46ADDB}"/>
          </ac:cxnSpMkLst>
        </pc:cxnChg>
        <pc:cxnChg chg="add mod">
          <ac:chgData name="Horn, Angelina" userId="17de84f0-3c4d-4bf9-80a7-5182f89cb293" providerId="ADAL" clId="{C69EC224-7693-4801-B2CE-45866694736E}" dt="2021-01-06T20:34:44.535" v="364" actId="1076"/>
          <ac:cxnSpMkLst>
            <pc:docMk/>
            <pc:sldMk cId="4091957854" sldId="256"/>
            <ac:cxnSpMk id="164" creationId="{E2067CC1-6CB6-43B7-8218-B17E9C2A43CF}"/>
          </ac:cxnSpMkLst>
        </pc:cxnChg>
        <pc:cxnChg chg="add mod">
          <ac:chgData name="Horn, Angelina" userId="17de84f0-3c4d-4bf9-80a7-5182f89cb293" providerId="ADAL" clId="{C69EC224-7693-4801-B2CE-45866694736E}" dt="2021-01-06T11:30:17.727" v="329" actId="1076"/>
          <ac:cxnSpMkLst>
            <pc:docMk/>
            <pc:sldMk cId="4091957854" sldId="256"/>
            <ac:cxnSpMk id="168" creationId="{F17DE304-4ADE-49C0-85CD-0F1DA4ABBC3D}"/>
          </ac:cxnSpMkLst>
        </pc:cxnChg>
        <pc:cxnChg chg="add mod">
          <ac:chgData name="Horn, Angelina" userId="17de84f0-3c4d-4bf9-80a7-5182f89cb293" providerId="ADAL" clId="{C69EC224-7693-4801-B2CE-45866694736E}" dt="2021-01-06T11:31:06.856" v="334" actId="1076"/>
          <ac:cxnSpMkLst>
            <pc:docMk/>
            <pc:sldMk cId="4091957854" sldId="256"/>
            <ac:cxnSpMk id="170" creationId="{F93D7E33-71D7-4B77-A049-BF08EE518A7F}"/>
          </ac:cxnSpMkLst>
        </pc:cxnChg>
        <pc:cxnChg chg="add mod">
          <ac:chgData name="Horn, Angelina" userId="17de84f0-3c4d-4bf9-80a7-5182f89cb293" providerId="ADAL" clId="{C69EC224-7693-4801-B2CE-45866694736E}" dt="2021-01-06T11:04:24.277" v="231" actId="208"/>
          <ac:cxnSpMkLst>
            <pc:docMk/>
            <pc:sldMk cId="4091957854" sldId="256"/>
            <ac:cxnSpMk id="172" creationId="{0998BB43-8665-4ECC-97A8-45E64A7C2BDE}"/>
          </ac:cxnSpMkLst>
        </pc:cxnChg>
        <pc:cxnChg chg="add mod">
          <ac:chgData name="Horn, Angelina" userId="17de84f0-3c4d-4bf9-80a7-5182f89cb293" providerId="ADAL" clId="{C69EC224-7693-4801-B2CE-45866694736E}" dt="2021-01-06T11:04:24.277" v="231" actId="208"/>
          <ac:cxnSpMkLst>
            <pc:docMk/>
            <pc:sldMk cId="4091957854" sldId="256"/>
            <ac:cxnSpMk id="174" creationId="{3A669294-5CCB-4623-B29B-DB2E642E6021}"/>
          </ac:cxnSpMkLst>
        </pc:cxnChg>
        <pc:cxnChg chg="add del mod">
          <ac:chgData name="Horn, Angelina" userId="17de84f0-3c4d-4bf9-80a7-5182f89cb293" providerId="ADAL" clId="{C69EC224-7693-4801-B2CE-45866694736E}" dt="2021-01-06T20:34:06.674" v="356" actId="478"/>
          <ac:cxnSpMkLst>
            <pc:docMk/>
            <pc:sldMk cId="4091957854" sldId="256"/>
            <ac:cxnSpMk id="176" creationId="{B0A6805B-74B3-472E-AC34-21BCEFB37AFA}"/>
          </ac:cxnSpMkLst>
        </pc:cxnChg>
        <pc:cxnChg chg="add del mod">
          <ac:chgData name="Horn, Angelina" userId="17de84f0-3c4d-4bf9-80a7-5182f89cb293" providerId="ADAL" clId="{C69EC224-7693-4801-B2CE-45866694736E}" dt="2021-01-06T20:34:01.192" v="351" actId="478"/>
          <ac:cxnSpMkLst>
            <pc:docMk/>
            <pc:sldMk cId="4091957854" sldId="256"/>
            <ac:cxnSpMk id="179" creationId="{555C4089-3E36-46CD-8C58-E94DA36657D8}"/>
          </ac:cxnSpMkLst>
        </pc:cxn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ADDFF9-F8A6-4A76-B9A6-82F10A40B9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ADDC134-0B22-4E6A-A357-AEA2CC414E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0BF1DA0-59F9-4EA9-B682-DF5427872A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7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2A377-21D2-470D-BE2E-AA9DEDA6FF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F4253A2-09E4-4CB6-9229-DCFD6E459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11436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A11834-312E-4A2A-9F07-C80A612D64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B9F6ABA-78D7-4322-8B34-AAC04136A2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33758A6-E393-437F-A03D-3A66341DD3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7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BA01420-A091-46DC-A27E-3352A3482E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7C84A17-24E2-47FC-8739-1236C6A7AF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80789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C2C31178-8D45-4027-93C0-090D643F80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525C6CB8-3335-4909-9C24-5B53D8D8D6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64A562C-A252-4076-865A-E8BC82F5C7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7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F8D0CE-051D-4087-8875-FE3C071134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9C51AE-B121-4956-AEB3-80DE993CA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7307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97A866-E195-4941-802B-8A29FAA669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C2C70BB-248B-45BC-AEE4-BD683C13D2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B0DDE3-81E7-4DC6-BD82-0140DCD826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7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5C07446-FF76-4FF8-AAD1-BFF9EDC9F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44391F-C812-4000-8E07-E97BEFF13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9453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1E03E-2440-4F74-8F10-5DEB026D4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C91F9E1-C235-46D3-A5D7-E1A4CAAB66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B8FB2B2-A700-48C7-8A61-9D84DB7DCC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7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5B77AF7-CDC7-414F-99ED-EBF6D251B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30354BF-5D26-40D5-B37B-8F173EC7B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57802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3149DC-782A-4714-BAB3-B7EFC8B78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78DACA7-9C56-443C-ACB8-0D47B5A005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8E855D1-E13F-4D8D-A127-1DFA89A74A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184CA5D-E6E1-40BD-8414-3A698389DB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7.01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215DC2-5C16-4987-8462-83918790A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9FA00CC-7766-4AC3-9C6C-E436156BE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05869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4036B6-347F-4CD7-B317-5600B7B84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53E1DDF-F314-47FF-BBC6-300F7A23D8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6337643-3008-4DFB-A4C5-18D3C9ECFA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A3241D8-074E-4AC5-ACEA-11E8DBFF51B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635FC5B-7F05-4E85-B0BF-4AEDC4CB052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CD2103E9-1032-44AC-A2BE-888720F085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7.01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D8F3210-90FC-4F1D-999C-FDC71A8309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9EAFDB-2BB5-4734-BB18-BEE34E8AE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39771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7B7A96-101A-4108-9656-A5BB3F741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899E69-CC9D-486C-A78C-6BD7C811FA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7.01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7AB73B5-CA82-4BCE-A24F-1219FA4E10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DEA3F88-7F2A-435B-BFAB-9666A1373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68059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F90DEEA-AD0F-4DA4-AEF6-15DE849D78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7.01.2021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584508-A937-4CF2-8CDA-3638179CA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68C1F9-9742-4646-BC35-5632DAB58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11092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D0FACD-1EF5-4BBD-AE59-130CAB1F8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967F0B-0EBC-49A4-9452-42B0DFD43A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17B6E67-79E3-40DC-92A3-6B9AF45531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6871F3B-5FC8-4902-A6FD-8FD1F80651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7.01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FE95FE-55A5-4E97-ABF4-7B20353A8C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231FC0-3684-4137-8FD3-4253DE821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52391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95EF89-2D3C-42FD-8038-ABBE6E37FD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84D7830E-439B-4B48-B7FF-5FB06E5C024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14B4982-FB6F-4128-B504-D6F05E0012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6E63C0F-B425-4D3D-AFD5-5251220CCA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07.01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1F91FD1-8FC1-42A1-B718-272A607439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D1BC0A8-49A6-4CBA-B85D-9F7163CB2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17710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A18D3B3-5CBC-4174-94F8-600B5DE9F2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7447CE8-7577-4A0E-8FAD-9C8D3047E8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8EB6E05-58FE-4972-87D7-6FD9825E22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09A021-C8ED-4A5C-890C-0A045B16B947}" type="datetimeFigureOut">
              <a:rPr lang="de-DE" smtClean="0"/>
              <a:t>07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92F38A9-9E3B-43BA-99E4-3E7A4FA0D5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ADF02F8-0676-4358-A564-7DDC52168C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4531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image" Target="../media/image2.png"/><Relationship Id="rId7" Type="http://schemas.openxmlformats.org/officeDocument/2006/relationships/image" Target="../media/image6.svg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" Type="http://schemas.openxmlformats.org/officeDocument/2006/relationships/image" Target="../media/image1.png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svg"/><Relationship Id="rId15" Type="http://schemas.openxmlformats.org/officeDocument/2006/relationships/image" Target="../media/image14.sv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svg"/><Relationship Id="rId1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5DB76DA0-20DE-4E59-8B20-5A239B7A99A7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718" y="4740450"/>
            <a:ext cx="1035182" cy="1035182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9366DB1-3600-49BF-B4E9-5E0618B42AF1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2937" y="2317737"/>
            <a:ext cx="1035183" cy="1035183"/>
          </a:xfrm>
          <a:prstGeom prst="rect">
            <a:avLst/>
          </a:prstGeom>
        </p:spPr>
      </p:pic>
      <p:pic>
        <p:nvPicPr>
          <p:cNvPr id="21" name="Grafik 20" descr="Benutzer">
            <a:extLst>
              <a:ext uri="{FF2B5EF4-FFF2-40B4-BE49-F238E27FC236}">
                <a16:creationId xmlns:a16="http://schemas.microsoft.com/office/drawing/2014/main" id="{43822395-2C17-419B-8878-9FF4857EDA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6284" y="340498"/>
            <a:ext cx="1035181" cy="1035181"/>
          </a:xfrm>
          <a:prstGeom prst="rect">
            <a:avLst/>
          </a:prstGeom>
        </p:spPr>
      </p:pic>
      <p:pic>
        <p:nvPicPr>
          <p:cNvPr id="23" name="Grafik 22" descr="Internet">
            <a:extLst>
              <a:ext uri="{FF2B5EF4-FFF2-40B4-BE49-F238E27FC236}">
                <a16:creationId xmlns:a16="http://schemas.microsoft.com/office/drawing/2014/main" id="{DFBFA669-97A8-45BB-9887-0066F16F4E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66348" y="4734769"/>
            <a:ext cx="1035183" cy="1035183"/>
          </a:xfrm>
          <a:prstGeom prst="rect">
            <a:avLst/>
          </a:prstGeom>
        </p:spPr>
      </p:pic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D0BF6CE5-EF20-4558-A7D3-520AB352FF99}"/>
              </a:ext>
            </a:extLst>
          </p:cNvPr>
          <p:cNvCxnSpPr>
            <a:cxnSpLocks/>
            <a:stCxn id="21" idx="3"/>
          </p:cNvCxnSpPr>
          <p:nvPr/>
        </p:nvCxnSpPr>
        <p:spPr>
          <a:xfrm>
            <a:off x="1341465" y="858089"/>
            <a:ext cx="2507192" cy="18030"/>
          </a:xfrm>
          <a:prstGeom prst="straightConnector1">
            <a:avLst/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0954690B-E44F-4339-AD90-9C0400EA3619}"/>
              </a:ext>
            </a:extLst>
          </p:cNvPr>
          <p:cNvSpPr txBox="1"/>
          <p:nvPr/>
        </p:nvSpPr>
        <p:spPr>
          <a:xfrm>
            <a:off x="2179383" y="516080"/>
            <a:ext cx="9156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i="1" dirty="0" err="1"/>
              <a:t>use</a:t>
            </a:r>
            <a:r>
              <a:rPr lang="de-DE" sz="1600" i="1" dirty="0"/>
              <a:t> GUI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450E1619-0B4D-45E8-8B4D-1B69BF89B087}"/>
              </a:ext>
            </a:extLst>
          </p:cNvPr>
          <p:cNvSpPr txBox="1"/>
          <p:nvPr/>
        </p:nvSpPr>
        <p:spPr>
          <a:xfrm>
            <a:off x="2355621" y="1083802"/>
            <a:ext cx="5738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/>
              <a:t>start</a:t>
            </a:r>
            <a:endParaRPr lang="de-DE" i="1" dirty="0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3061F80-8FCF-4399-8C50-C44B60BBAD47}"/>
              </a:ext>
            </a:extLst>
          </p:cNvPr>
          <p:cNvSpPr txBox="1"/>
          <p:nvPr/>
        </p:nvSpPr>
        <p:spPr>
          <a:xfrm>
            <a:off x="486120" y="1358724"/>
            <a:ext cx="6174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User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7AA44258-3B33-43B7-AC4D-94142CDAB65E}"/>
              </a:ext>
            </a:extLst>
          </p:cNvPr>
          <p:cNvSpPr txBox="1"/>
          <p:nvPr/>
        </p:nvSpPr>
        <p:spPr>
          <a:xfrm>
            <a:off x="3973009" y="1358724"/>
            <a:ext cx="983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andbox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17FCC1E7-2BB9-4E8C-AC3B-A45FB57AD2F7}"/>
              </a:ext>
            </a:extLst>
          </p:cNvPr>
          <p:cNvSpPr txBox="1"/>
          <p:nvPr/>
        </p:nvSpPr>
        <p:spPr>
          <a:xfrm>
            <a:off x="1713897" y="3226520"/>
            <a:ext cx="7880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Locust</a:t>
            </a:r>
            <a:endParaRPr lang="de-DE" dirty="0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28AD6633-3E28-439E-BBA2-F027CE4C5BEF}"/>
              </a:ext>
            </a:extLst>
          </p:cNvPr>
          <p:cNvSpPr txBox="1"/>
          <p:nvPr/>
        </p:nvSpPr>
        <p:spPr>
          <a:xfrm>
            <a:off x="3819786" y="3226520"/>
            <a:ext cx="1325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Prometheus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0AD7B7BA-2848-4571-ABED-434685C15A99}"/>
              </a:ext>
            </a:extLst>
          </p:cNvPr>
          <p:cNvSpPr txBox="1"/>
          <p:nvPr/>
        </p:nvSpPr>
        <p:spPr>
          <a:xfrm>
            <a:off x="1378336" y="5721384"/>
            <a:ext cx="1388526" cy="369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icroservice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8CB36DD8-50E3-414C-99B7-110FD1FFD6AB}"/>
              </a:ext>
            </a:extLst>
          </p:cNvPr>
          <p:cNvSpPr txBox="1"/>
          <p:nvPr/>
        </p:nvSpPr>
        <p:spPr>
          <a:xfrm>
            <a:off x="3842220" y="5721385"/>
            <a:ext cx="12561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F196B3C1-D4E1-4142-8151-2E737B6206F8}"/>
              </a:ext>
            </a:extLst>
          </p:cNvPr>
          <p:cNvSpPr txBox="1"/>
          <p:nvPr/>
        </p:nvSpPr>
        <p:spPr>
          <a:xfrm>
            <a:off x="2994269" y="4948798"/>
            <a:ext cx="7364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/>
              <a:t>deploy</a:t>
            </a:r>
            <a:endParaRPr lang="de-DE" i="1" dirty="0"/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47793985-A8EE-45F5-8DCF-106047B1D4E9}"/>
              </a:ext>
            </a:extLst>
          </p:cNvPr>
          <p:cNvSpPr txBox="1"/>
          <p:nvPr/>
        </p:nvSpPr>
        <p:spPr>
          <a:xfrm>
            <a:off x="2103911" y="3893182"/>
            <a:ext cx="75405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/>
              <a:t>load</a:t>
            </a:r>
            <a:endParaRPr lang="de-DE" sz="1600" i="1" dirty="0"/>
          </a:p>
          <a:p>
            <a:r>
              <a:rPr lang="de-DE" sz="1600" i="1" dirty="0" err="1"/>
              <a:t>testing</a:t>
            </a:r>
            <a:endParaRPr lang="de-DE" i="1" dirty="0"/>
          </a:p>
        </p:txBody>
      </p:sp>
      <p:pic>
        <p:nvPicPr>
          <p:cNvPr id="107" name="Grafik 106" descr="Dokument">
            <a:extLst>
              <a:ext uri="{FF2B5EF4-FFF2-40B4-BE49-F238E27FC236}">
                <a16:creationId xmlns:a16="http://schemas.microsoft.com/office/drawing/2014/main" id="{12B0844C-87A4-43E9-9ED9-4EFC70D15FB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56459" y="341577"/>
            <a:ext cx="1035181" cy="1035181"/>
          </a:xfrm>
          <a:prstGeom prst="rect">
            <a:avLst/>
          </a:prstGeom>
        </p:spPr>
      </p:pic>
      <p:sp>
        <p:nvSpPr>
          <p:cNvPr id="108" name="Textfeld 107">
            <a:extLst>
              <a:ext uri="{FF2B5EF4-FFF2-40B4-BE49-F238E27FC236}">
                <a16:creationId xmlns:a16="http://schemas.microsoft.com/office/drawing/2014/main" id="{9E8BA6A1-A6DC-451C-8541-37166907CB32}"/>
              </a:ext>
            </a:extLst>
          </p:cNvPr>
          <p:cNvSpPr txBox="1"/>
          <p:nvPr/>
        </p:nvSpPr>
        <p:spPr>
          <a:xfrm>
            <a:off x="8895432" y="1358724"/>
            <a:ext cx="17522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err="1"/>
              <a:t>raw</a:t>
            </a:r>
            <a:endParaRPr lang="de-DE" dirty="0"/>
          </a:p>
          <a:p>
            <a:pPr algn="ctr"/>
            <a:r>
              <a:rPr lang="de-DE" dirty="0" err="1"/>
              <a:t>performanc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</p:txBody>
      </p:sp>
      <p:cxnSp>
        <p:nvCxnSpPr>
          <p:cNvPr id="110" name="Gerade Verbindung mit Pfeil 109">
            <a:extLst>
              <a:ext uri="{FF2B5EF4-FFF2-40B4-BE49-F238E27FC236}">
                <a16:creationId xmlns:a16="http://schemas.microsoft.com/office/drawing/2014/main" id="{C631929E-3246-4019-ABD1-7CD14CE07F99}"/>
              </a:ext>
            </a:extLst>
          </p:cNvPr>
          <p:cNvCxnSpPr>
            <a:cxnSpLocks/>
          </p:cNvCxnSpPr>
          <p:nvPr/>
        </p:nvCxnSpPr>
        <p:spPr>
          <a:xfrm>
            <a:off x="5218893" y="866808"/>
            <a:ext cx="4094102" cy="9016"/>
          </a:xfrm>
          <a:prstGeom prst="straightConnector1">
            <a:avLst/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Verbinder: gewinkelt 161">
            <a:extLst>
              <a:ext uri="{FF2B5EF4-FFF2-40B4-BE49-F238E27FC236}">
                <a16:creationId xmlns:a16="http://schemas.microsoft.com/office/drawing/2014/main" id="{729A00D5-466E-4DA4-A65A-D1672F46ADDB}"/>
              </a:ext>
            </a:extLst>
          </p:cNvPr>
          <p:cNvCxnSpPr>
            <a:cxnSpLocks/>
          </p:cNvCxnSpPr>
          <p:nvPr/>
        </p:nvCxnSpPr>
        <p:spPr>
          <a:xfrm rot="10800000" flipV="1">
            <a:off x="1900360" y="1402843"/>
            <a:ext cx="1812386" cy="864668"/>
          </a:xfrm>
          <a:prstGeom prst="bentConnector3">
            <a:avLst>
              <a:gd name="adj1" fmla="val 99990"/>
            </a:avLst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E2067CC1-6CB6-43B7-8218-B17E9C2A43CF}"/>
              </a:ext>
            </a:extLst>
          </p:cNvPr>
          <p:cNvCxnSpPr>
            <a:cxnSpLocks/>
            <a:stCxn id="11" idx="0"/>
            <a:endCxn id="34" idx="2"/>
          </p:cNvCxnSpPr>
          <p:nvPr/>
        </p:nvCxnSpPr>
        <p:spPr>
          <a:xfrm flipV="1">
            <a:off x="4450529" y="1728056"/>
            <a:ext cx="14122" cy="589681"/>
          </a:xfrm>
          <a:prstGeom prst="straightConnector1">
            <a:avLst/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Gerade Verbindung mit Pfeil 167">
            <a:extLst>
              <a:ext uri="{FF2B5EF4-FFF2-40B4-BE49-F238E27FC236}">
                <a16:creationId xmlns:a16="http://schemas.microsoft.com/office/drawing/2014/main" id="{F17DE304-4ADE-49C0-85CD-0F1DA4ABBC3D}"/>
              </a:ext>
            </a:extLst>
          </p:cNvPr>
          <p:cNvCxnSpPr>
            <a:cxnSpLocks/>
            <a:stCxn id="15" idx="0"/>
            <a:endCxn id="40" idx="2"/>
          </p:cNvCxnSpPr>
          <p:nvPr/>
        </p:nvCxnSpPr>
        <p:spPr>
          <a:xfrm flipV="1">
            <a:off x="4470309" y="3595852"/>
            <a:ext cx="12415" cy="1144598"/>
          </a:xfrm>
          <a:prstGeom prst="straightConnector1">
            <a:avLst/>
          </a:prstGeom>
          <a:ln>
            <a:solidFill>
              <a:srgbClr val="EC650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mit Pfeil 169">
            <a:extLst>
              <a:ext uri="{FF2B5EF4-FFF2-40B4-BE49-F238E27FC236}">
                <a16:creationId xmlns:a16="http://schemas.microsoft.com/office/drawing/2014/main" id="{F93D7E33-71D7-4B77-A049-BF08EE518A7F}"/>
              </a:ext>
            </a:extLst>
          </p:cNvPr>
          <p:cNvCxnSpPr>
            <a:stCxn id="15" idx="1"/>
            <a:endCxn id="23" idx="3"/>
          </p:cNvCxnSpPr>
          <p:nvPr/>
        </p:nvCxnSpPr>
        <p:spPr>
          <a:xfrm flipH="1" flipV="1">
            <a:off x="2601531" y="5252361"/>
            <a:ext cx="1351187" cy="5680"/>
          </a:xfrm>
          <a:prstGeom prst="straightConnector1">
            <a:avLst/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0998BB43-8665-4ECC-97A8-45E64A7C2BDE}"/>
              </a:ext>
            </a:extLst>
          </p:cNvPr>
          <p:cNvCxnSpPr>
            <a:cxnSpLocks/>
          </p:cNvCxnSpPr>
          <p:nvPr/>
        </p:nvCxnSpPr>
        <p:spPr>
          <a:xfrm>
            <a:off x="2079738" y="3644398"/>
            <a:ext cx="9359" cy="1149025"/>
          </a:xfrm>
          <a:prstGeom prst="straightConnector1">
            <a:avLst/>
          </a:prstGeom>
          <a:ln>
            <a:solidFill>
              <a:srgbClr val="EC650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Verbinder: gewinkelt 173">
            <a:extLst>
              <a:ext uri="{FF2B5EF4-FFF2-40B4-BE49-F238E27FC236}">
                <a16:creationId xmlns:a16="http://schemas.microsoft.com/office/drawing/2014/main" id="{3A669294-5CCB-4623-B29B-DB2E642E6021}"/>
              </a:ext>
            </a:extLst>
          </p:cNvPr>
          <p:cNvCxnSpPr>
            <a:cxnSpLocks/>
          </p:cNvCxnSpPr>
          <p:nvPr/>
        </p:nvCxnSpPr>
        <p:spPr>
          <a:xfrm flipV="1">
            <a:off x="2242456" y="1673009"/>
            <a:ext cx="1496242" cy="558981"/>
          </a:xfrm>
          <a:prstGeom prst="bentConnector3">
            <a:avLst>
              <a:gd name="adj1" fmla="val 100"/>
            </a:avLst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Textfeld 209">
            <a:extLst>
              <a:ext uri="{FF2B5EF4-FFF2-40B4-BE49-F238E27FC236}">
                <a16:creationId xmlns:a16="http://schemas.microsoft.com/office/drawing/2014/main" id="{A50D6072-400B-46E1-B1EB-BF9C43230475}"/>
              </a:ext>
            </a:extLst>
          </p:cNvPr>
          <p:cNvSpPr txBox="1"/>
          <p:nvPr/>
        </p:nvSpPr>
        <p:spPr>
          <a:xfrm>
            <a:off x="2262771" y="1699054"/>
            <a:ext cx="135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/>
              <a:t>response</a:t>
            </a:r>
            <a:r>
              <a:rPr lang="de-DE" i="1" dirty="0"/>
              <a:t> </a:t>
            </a:r>
            <a:r>
              <a:rPr lang="de-DE" sz="1600" i="1" dirty="0"/>
              <a:t>time</a:t>
            </a:r>
            <a:endParaRPr lang="de-DE" i="1" dirty="0"/>
          </a:p>
        </p:txBody>
      </p:sp>
      <p:sp>
        <p:nvSpPr>
          <p:cNvPr id="211" name="Textfeld 210">
            <a:extLst>
              <a:ext uri="{FF2B5EF4-FFF2-40B4-BE49-F238E27FC236}">
                <a16:creationId xmlns:a16="http://schemas.microsoft.com/office/drawing/2014/main" id="{3A3A8FB1-3200-4D9C-850D-DC614A6A585D}"/>
              </a:ext>
            </a:extLst>
          </p:cNvPr>
          <p:cNvSpPr txBox="1"/>
          <p:nvPr/>
        </p:nvSpPr>
        <p:spPr>
          <a:xfrm>
            <a:off x="4490567" y="4018653"/>
            <a:ext cx="8474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/>
              <a:t>monitor</a:t>
            </a:r>
            <a:endParaRPr lang="de-DE" i="1" dirty="0"/>
          </a:p>
        </p:txBody>
      </p:sp>
      <p:sp>
        <p:nvSpPr>
          <p:cNvPr id="214" name="Textfeld 213">
            <a:extLst>
              <a:ext uri="{FF2B5EF4-FFF2-40B4-BE49-F238E27FC236}">
                <a16:creationId xmlns:a16="http://schemas.microsoft.com/office/drawing/2014/main" id="{0D5A3FBA-5744-4811-ADA6-6A21367E2C7F}"/>
              </a:ext>
            </a:extLst>
          </p:cNvPr>
          <p:cNvSpPr txBox="1"/>
          <p:nvPr/>
        </p:nvSpPr>
        <p:spPr>
          <a:xfrm>
            <a:off x="6369524" y="508205"/>
            <a:ext cx="11489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/>
              <a:t>accumulate</a:t>
            </a:r>
            <a:endParaRPr lang="de-DE" i="1" dirty="0"/>
          </a:p>
        </p:txBody>
      </p:sp>
      <p:sp>
        <p:nvSpPr>
          <p:cNvPr id="216" name="Textfeld 215">
            <a:extLst>
              <a:ext uri="{FF2B5EF4-FFF2-40B4-BE49-F238E27FC236}">
                <a16:creationId xmlns:a16="http://schemas.microsoft.com/office/drawing/2014/main" id="{25980747-2E19-4C55-B322-4FF2963A2E0D}"/>
              </a:ext>
            </a:extLst>
          </p:cNvPr>
          <p:cNvSpPr txBox="1"/>
          <p:nvPr/>
        </p:nvSpPr>
        <p:spPr>
          <a:xfrm>
            <a:off x="4623139" y="2081922"/>
            <a:ext cx="976870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/>
              <a:t>ressource</a:t>
            </a:r>
            <a:endParaRPr lang="de-DE" sz="1600" i="1" dirty="0"/>
          </a:p>
          <a:p>
            <a:r>
              <a:rPr lang="de-DE" i="1" dirty="0"/>
              <a:t> </a:t>
            </a:r>
            <a:r>
              <a:rPr lang="de-DE" sz="1600" i="1" dirty="0" err="1"/>
              <a:t>usage</a:t>
            </a:r>
            <a:endParaRPr lang="de-DE" i="1" dirty="0"/>
          </a:p>
        </p:txBody>
      </p:sp>
      <p:pic>
        <p:nvPicPr>
          <p:cNvPr id="224" name="Grafik 223">
            <a:extLst>
              <a:ext uri="{FF2B5EF4-FFF2-40B4-BE49-F238E27FC236}">
                <a16:creationId xmlns:a16="http://schemas.microsoft.com/office/drawing/2014/main" id="{91E564DA-5983-4DE2-89E6-19105301D42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32936" y="341577"/>
            <a:ext cx="1035181" cy="1035181"/>
          </a:xfrm>
          <a:prstGeom prst="rect">
            <a:avLst/>
          </a:prstGeom>
        </p:spPr>
      </p:pic>
      <p:pic>
        <p:nvPicPr>
          <p:cNvPr id="232" name="Grafik 231">
            <a:extLst>
              <a:ext uri="{FF2B5EF4-FFF2-40B4-BE49-F238E27FC236}">
                <a16:creationId xmlns:a16="http://schemas.microsoft.com/office/drawing/2014/main" id="{13486ACE-A404-4DDD-BA94-42481D81634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55981" y="2317006"/>
            <a:ext cx="1033237" cy="1033237"/>
          </a:xfrm>
          <a:prstGeom prst="rect">
            <a:avLst/>
          </a:prstGeom>
        </p:spPr>
      </p:pic>
      <p:pic>
        <p:nvPicPr>
          <p:cNvPr id="6" name="Grafik 5" descr="Kopf mit Zahnrädern">
            <a:extLst>
              <a:ext uri="{FF2B5EF4-FFF2-40B4-BE49-F238E27FC236}">
                <a16:creationId xmlns:a16="http://schemas.microsoft.com/office/drawing/2014/main" id="{9BE2FF45-C6F7-47B1-A595-D5A63096B40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568190" y="2434765"/>
            <a:ext cx="1035183" cy="1035183"/>
          </a:xfrm>
          <a:prstGeom prst="rect">
            <a:avLst/>
          </a:prstGeom>
        </p:spPr>
      </p:pic>
      <p:pic>
        <p:nvPicPr>
          <p:cNvPr id="8" name="Grafik 7" descr="Recherche">
            <a:extLst>
              <a:ext uri="{FF2B5EF4-FFF2-40B4-BE49-F238E27FC236}">
                <a16:creationId xmlns:a16="http://schemas.microsoft.com/office/drawing/2014/main" id="{EA8D1B29-F7C7-4B2C-B5E1-9C3A50FAD3D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799999" y="2434765"/>
            <a:ext cx="1035183" cy="1035183"/>
          </a:xfrm>
          <a:prstGeom prst="rect">
            <a:avLst/>
          </a:prstGeom>
        </p:spPr>
      </p:pic>
      <p:sp>
        <p:nvSpPr>
          <p:cNvPr id="47" name="Textfeld 46">
            <a:extLst>
              <a:ext uri="{FF2B5EF4-FFF2-40B4-BE49-F238E27FC236}">
                <a16:creationId xmlns:a16="http://schemas.microsoft.com/office/drawing/2014/main" id="{8245B961-5DA7-46FC-AF57-4B45E80A001C}"/>
              </a:ext>
            </a:extLst>
          </p:cNvPr>
          <p:cNvSpPr txBox="1"/>
          <p:nvPr/>
        </p:nvSpPr>
        <p:spPr>
          <a:xfrm>
            <a:off x="7893050" y="3544204"/>
            <a:ext cx="8490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Extra-P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1BF43CBD-73A0-4ED4-BA40-4B8CBEDC6674}"/>
              </a:ext>
            </a:extLst>
          </p:cNvPr>
          <p:cNvSpPr txBox="1"/>
          <p:nvPr/>
        </p:nvSpPr>
        <p:spPr>
          <a:xfrm>
            <a:off x="10153477" y="3535599"/>
            <a:ext cx="18646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err="1"/>
              <a:t>Machine</a:t>
            </a:r>
            <a:r>
              <a:rPr lang="de-DE" dirty="0"/>
              <a:t> Learning</a:t>
            </a:r>
          </a:p>
          <a:p>
            <a:pPr algn="ctr"/>
            <a:r>
              <a:rPr lang="de-DE" dirty="0"/>
              <a:t>Model</a:t>
            </a:r>
          </a:p>
        </p:txBody>
      </p:sp>
      <p:cxnSp>
        <p:nvCxnSpPr>
          <p:cNvPr id="16" name="Verbinder: gewinkelt 15">
            <a:extLst>
              <a:ext uri="{FF2B5EF4-FFF2-40B4-BE49-F238E27FC236}">
                <a16:creationId xmlns:a16="http://schemas.microsoft.com/office/drawing/2014/main" id="{828CF341-BC4B-49DB-9EDF-47749AD8540E}"/>
              </a:ext>
            </a:extLst>
          </p:cNvPr>
          <p:cNvCxnSpPr>
            <a:stCxn id="108" idx="2"/>
            <a:endCxn id="8" idx="0"/>
          </p:cNvCxnSpPr>
          <p:nvPr/>
        </p:nvCxnSpPr>
        <p:spPr>
          <a:xfrm rot="5400000">
            <a:off x="8829710" y="1492937"/>
            <a:ext cx="429710" cy="1453947"/>
          </a:xfrm>
          <a:prstGeom prst="bentConnector3">
            <a:avLst/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Verbinder: gewinkelt 17">
            <a:extLst>
              <a:ext uri="{FF2B5EF4-FFF2-40B4-BE49-F238E27FC236}">
                <a16:creationId xmlns:a16="http://schemas.microsoft.com/office/drawing/2014/main" id="{600B41B5-A213-4F15-9EEE-F0324AE46BD6}"/>
              </a:ext>
            </a:extLst>
          </p:cNvPr>
          <p:cNvCxnSpPr>
            <a:stCxn id="108" idx="2"/>
            <a:endCxn id="6" idx="0"/>
          </p:cNvCxnSpPr>
          <p:nvPr/>
        </p:nvCxnSpPr>
        <p:spPr>
          <a:xfrm rot="16200000" flipH="1">
            <a:off x="10213805" y="1562788"/>
            <a:ext cx="429710" cy="1314244"/>
          </a:xfrm>
          <a:prstGeom prst="bentConnector3">
            <a:avLst/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721B8FD1-A0C7-4FD4-AD5C-7BD3B3BD0C9C}"/>
              </a:ext>
            </a:extLst>
          </p:cNvPr>
          <p:cNvSpPr txBox="1"/>
          <p:nvPr/>
        </p:nvSpPr>
        <p:spPr>
          <a:xfrm>
            <a:off x="5332280" y="4974756"/>
            <a:ext cx="5985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/>
              <a:t>scale</a:t>
            </a:r>
            <a:endParaRPr lang="de-DE" i="1" dirty="0"/>
          </a:p>
        </p:txBody>
      </p:sp>
      <p:pic>
        <p:nvPicPr>
          <p:cNvPr id="20" name="Grafik 19" descr="Statistik">
            <a:extLst>
              <a:ext uri="{FF2B5EF4-FFF2-40B4-BE49-F238E27FC236}">
                <a16:creationId xmlns:a16="http://schemas.microsoft.com/office/drawing/2014/main" id="{2F2D8A6C-C212-49C2-9C83-BDB83A2EC2D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130125" y="4734768"/>
            <a:ext cx="1035181" cy="1035181"/>
          </a:xfrm>
          <a:prstGeom prst="rect">
            <a:avLst/>
          </a:prstGeom>
        </p:spPr>
      </p:pic>
      <p:cxnSp>
        <p:nvCxnSpPr>
          <p:cNvPr id="24" name="Verbinder: gewinkelt 23">
            <a:extLst>
              <a:ext uri="{FF2B5EF4-FFF2-40B4-BE49-F238E27FC236}">
                <a16:creationId xmlns:a16="http://schemas.microsoft.com/office/drawing/2014/main" id="{274A06D7-F0DF-49A7-9F80-2A375FC8EDB9}"/>
              </a:ext>
            </a:extLst>
          </p:cNvPr>
          <p:cNvCxnSpPr>
            <a:stCxn id="48" idx="2"/>
            <a:endCxn id="20" idx="0"/>
          </p:cNvCxnSpPr>
          <p:nvPr/>
        </p:nvCxnSpPr>
        <p:spPr>
          <a:xfrm rot="5400000">
            <a:off x="10090331" y="3739315"/>
            <a:ext cx="552838" cy="1438068"/>
          </a:xfrm>
          <a:prstGeom prst="bentConnector3">
            <a:avLst/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Verbinder: gewinkelt 25">
            <a:extLst>
              <a:ext uri="{FF2B5EF4-FFF2-40B4-BE49-F238E27FC236}">
                <a16:creationId xmlns:a16="http://schemas.microsoft.com/office/drawing/2014/main" id="{30F60652-A19C-459E-A007-D43A1F8A538E}"/>
              </a:ext>
            </a:extLst>
          </p:cNvPr>
          <p:cNvCxnSpPr>
            <a:cxnSpLocks/>
            <a:stCxn id="47" idx="2"/>
            <a:endCxn id="20" idx="0"/>
          </p:cNvCxnSpPr>
          <p:nvPr/>
        </p:nvCxnSpPr>
        <p:spPr>
          <a:xfrm rot="16200000" flipH="1">
            <a:off x="8572037" y="3659089"/>
            <a:ext cx="821232" cy="1330126"/>
          </a:xfrm>
          <a:prstGeom prst="bentConnector3">
            <a:avLst>
              <a:gd name="adj1" fmla="val 66344"/>
            </a:avLst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feld 63">
            <a:extLst>
              <a:ext uri="{FF2B5EF4-FFF2-40B4-BE49-F238E27FC236}">
                <a16:creationId xmlns:a16="http://schemas.microsoft.com/office/drawing/2014/main" id="{27F805F7-AF9B-4421-B117-61078BC1D1FD}"/>
              </a:ext>
            </a:extLst>
          </p:cNvPr>
          <p:cNvSpPr txBox="1"/>
          <p:nvPr/>
        </p:nvSpPr>
        <p:spPr>
          <a:xfrm>
            <a:off x="8620766" y="5719707"/>
            <a:ext cx="20538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Performance Model</a:t>
            </a: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BCEEC36F-637B-4CD7-862F-31841DE32718}"/>
              </a:ext>
            </a:extLst>
          </p:cNvPr>
          <p:cNvSpPr txBox="1"/>
          <p:nvPr/>
        </p:nvSpPr>
        <p:spPr>
          <a:xfrm>
            <a:off x="6181574" y="5721384"/>
            <a:ext cx="1180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Autoscaler</a:t>
            </a:r>
            <a:endParaRPr lang="de-DE" dirty="0"/>
          </a:p>
        </p:txBody>
      </p:sp>
      <p:pic>
        <p:nvPicPr>
          <p:cNvPr id="67" name="Grafik 66">
            <a:extLst>
              <a:ext uri="{FF2B5EF4-FFF2-40B4-BE49-F238E27FC236}">
                <a16:creationId xmlns:a16="http://schemas.microsoft.com/office/drawing/2014/main" id="{3DAEDDE1-468D-438F-8136-B9D2C3765F2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75222" y="4734769"/>
            <a:ext cx="1035181" cy="1035181"/>
          </a:xfrm>
          <a:prstGeom prst="rect">
            <a:avLst/>
          </a:prstGeom>
        </p:spPr>
      </p:pic>
      <p:sp>
        <p:nvSpPr>
          <p:cNvPr id="81" name="Textfeld 80">
            <a:extLst>
              <a:ext uri="{FF2B5EF4-FFF2-40B4-BE49-F238E27FC236}">
                <a16:creationId xmlns:a16="http://schemas.microsoft.com/office/drawing/2014/main" id="{17794855-78CB-49AF-87DF-68DCD8A46B2C}"/>
              </a:ext>
            </a:extLst>
          </p:cNvPr>
          <p:cNvSpPr txBox="1"/>
          <p:nvPr/>
        </p:nvSpPr>
        <p:spPr>
          <a:xfrm>
            <a:off x="7722070" y="4974756"/>
            <a:ext cx="9155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/>
              <a:t>compare</a:t>
            </a:r>
            <a:endParaRPr lang="de-DE" i="1" dirty="0"/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C1EC443C-50E4-49F1-BCFF-2C7462B398F1}"/>
              </a:ext>
            </a:extLst>
          </p:cNvPr>
          <p:cNvSpPr txBox="1"/>
          <p:nvPr/>
        </p:nvSpPr>
        <p:spPr>
          <a:xfrm>
            <a:off x="9365348" y="2212106"/>
            <a:ext cx="8045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/>
              <a:t>convert</a:t>
            </a:r>
            <a:endParaRPr lang="de-DE" i="1" dirty="0"/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16B91D41-1397-43BB-B86F-F79BE12E7BF9}"/>
              </a:ext>
            </a:extLst>
          </p:cNvPr>
          <p:cNvSpPr txBox="1"/>
          <p:nvPr/>
        </p:nvSpPr>
        <p:spPr>
          <a:xfrm>
            <a:off x="9265237" y="4119795"/>
            <a:ext cx="7649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/>
              <a:t>predict</a:t>
            </a:r>
            <a:endParaRPr lang="de-DE" i="1" dirty="0"/>
          </a:p>
        </p:txBody>
      </p: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EA9F5B31-6293-483F-9DE5-1F624AA088EF}"/>
              </a:ext>
            </a:extLst>
          </p:cNvPr>
          <p:cNvCxnSpPr>
            <a:stCxn id="67" idx="1"/>
            <a:endCxn id="15" idx="3"/>
          </p:cNvCxnSpPr>
          <p:nvPr/>
        </p:nvCxnSpPr>
        <p:spPr>
          <a:xfrm flipH="1">
            <a:off x="4987900" y="5252360"/>
            <a:ext cx="1287322" cy="5681"/>
          </a:xfrm>
          <a:prstGeom prst="straightConnector1">
            <a:avLst/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Verbinder: gewinkelt 77">
            <a:extLst>
              <a:ext uri="{FF2B5EF4-FFF2-40B4-BE49-F238E27FC236}">
                <a16:creationId xmlns:a16="http://schemas.microsoft.com/office/drawing/2014/main" id="{74FE8A16-0798-4B7C-86C8-48BC8AE319E8}"/>
              </a:ext>
            </a:extLst>
          </p:cNvPr>
          <p:cNvCxnSpPr>
            <a:stCxn id="11" idx="3"/>
            <a:endCxn id="67" idx="0"/>
          </p:cNvCxnSpPr>
          <p:nvPr/>
        </p:nvCxnSpPr>
        <p:spPr>
          <a:xfrm>
            <a:off x="4968120" y="2835329"/>
            <a:ext cx="1824693" cy="1899440"/>
          </a:xfrm>
          <a:prstGeom prst="bentConnector2">
            <a:avLst/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6CC8D32B-CEA8-4E14-9BC2-1FD94865388C}"/>
              </a:ext>
            </a:extLst>
          </p:cNvPr>
          <p:cNvCxnSpPr>
            <a:stCxn id="20" idx="1"/>
            <a:endCxn id="67" idx="3"/>
          </p:cNvCxnSpPr>
          <p:nvPr/>
        </p:nvCxnSpPr>
        <p:spPr>
          <a:xfrm flipH="1">
            <a:off x="7310403" y="5252359"/>
            <a:ext cx="1819722" cy="1"/>
          </a:xfrm>
          <a:prstGeom prst="straightConnector1">
            <a:avLst/>
          </a:prstGeom>
          <a:ln>
            <a:solidFill>
              <a:srgbClr val="EC65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1957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3">
    <wetp:webextensionref xmlns:r="http://schemas.openxmlformats.org/officeDocument/2006/relationships" r:id="rId1"/>
  </wetp:taskpane>
  <wetp:taskpane dockstate="right" visibility="0" width="350" row="4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3F311D12-2878-4E9D-90CD-57C5E9A6BA96}">
  <we:reference id="wa104381063" version="1.0.0.1" store="de-DE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5A62A802-CDCC-4D11-A448-D50039419A8E}">
  <we:reference id="wa104381411" version="1.0.0.0" store="de-DE" storeType="OMEX"/>
  <we:alternateReferences>
    <we:reference id="wa104381411" version="1.0.0.0" store="WA104381411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D037E0F555104F902E5D16CA0A3EF6" ma:contentTypeVersion="10" ma:contentTypeDescription="Create a new document." ma:contentTypeScope="" ma:versionID="332afcf416ce8b92cef0b2e94badf80e">
  <xsd:schema xmlns:xsd="http://www.w3.org/2001/XMLSchema" xmlns:xs="http://www.w3.org/2001/XMLSchema" xmlns:p="http://schemas.microsoft.com/office/2006/metadata/properties" xmlns:ns3="b562bb5c-2bcc-446d-a6ab-2c032ef64b30" xmlns:ns4="79484fb9-75e5-47bb-af24-98016862dfff" targetNamespace="http://schemas.microsoft.com/office/2006/metadata/properties" ma:root="true" ma:fieldsID="c8688859e957a02f2175eb501fd6e281" ns3:_="" ns4:_="">
    <xsd:import namespace="b562bb5c-2bcc-446d-a6ab-2c032ef64b30"/>
    <xsd:import namespace="79484fb9-75e5-47bb-af24-98016862dfff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62bb5c-2bcc-446d-a6ab-2c032ef64b3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484fb9-75e5-47bb-af24-98016862df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8FBD9BB-23AE-4305-A4C0-798FFEEDEC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62bb5c-2bcc-446d-a6ab-2c032ef64b30"/>
    <ds:schemaRef ds:uri="79484fb9-75e5-47bb-af24-98016862dff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B8A4EF0-5538-424E-9A1F-33E7E19B41B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AE859A4-66A0-4F45-90BF-22901F35710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3</Words>
  <Application>Microsoft Office PowerPoint</Application>
  <PresentationFormat>Breitbild</PresentationFormat>
  <Paragraphs>27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orn, Angelina</dc:creator>
  <cp:lastModifiedBy>23</cp:lastModifiedBy>
  <cp:revision>6</cp:revision>
  <dcterms:created xsi:type="dcterms:W3CDTF">2021-01-06T10:08:26Z</dcterms:created>
  <dcterms:modified xsi:type="dcterms:W3CDTF">2021-01-07T13:02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D037E0F555104F902E5D16CA0A3EF6</vt:lpwstr>
  </property>
</Properties>
</file>